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18" r:id="rId4"/>
  </p:sldMasterIdLst>
  <p:notesMasterIdLst>
    <p:notesMasterId r:id="rId21"/>
  </p:notesMasterIdLst>
  <p:handoutMasterIdLst>
    <p:handoutMasterId r:id="rId22"/>
  </p:handoutMasterIdLst>
  <p:sldIdLst>
    <p:sldId id="259" r:id="rId5"/>
    <p:sldId id="363" r:id="rId6"/>
    <p:sldId id="364" r:id="rId7"/>
    <p:sldId id="362" r:id="rId8"/>
    <p:sldId id="365" r:id="rId9"/>
    <p:sldId id="373" r:id="rId10"/>
    <p:sldId id="366" r:id="rId11"/>
    <p:sldId id="367" r:id="rId12"/>
    <p:sldId id="368" r:id="rId13"/>
    <p:sldId id="374" r:id="rId14"/>
    <p:sldId id="369" r:id="rId15"/>
    <p:sldId id="370" r:id="rId16"/>
    <p:sldId id="371" r:id="rId17"/>
    <p:sldId id="372" r:id="rId18"/>
    <p:sldId id="361" r:id="rId19"/>
    <p:sldId id="375" r:id="rId20"/>
  </p:sldIdLst>
  <p:sldSz cx="12192000" cy="6858000"/>
  <p:notesSz cx="6858000" cy="9144000"/>
  <p:embeddedFontLst>
    <p:embeddedFont>
      <p:font typeface="SKF Sans Office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878" y="6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301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heme" Target="../theme/theme3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3B8617F-C86B-E405-F12E-5C134B237DD5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4613" y="255600"/>
            <a:ext cx="2971800" cy="198000"/>
          </a:xfrm>
          <a:prstGeom prst="rect">
            <a:avLst/>
          </a:prstGeom>
        </p:spPr>
        <p:txBody>
          <a:bodyPr vert="horz" lIns="180000" tIns="45720" rIns="180000" bIns="45720" rtlCol="0"/>
          <a:lstStyle>
            <a:lvl1pPr algn="l">
              <a:defRPr sz="1200"/>
            </a:lvl1pPr>
          </a:lstStyle>
          <a:p>
            <a:pPr algn="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D80244-4EED-1AED-480A-BCA287DAF25C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57600"/>
            <a:ext cx="2971800" cy="198000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sz="1200"/>
            </a:lvl1pPr>
          </a:lstStyle>
          <a:p>
            <a:fld id="{EBA3F5FE-B313-4CC5-9877-A3C5F2FA460D}" type="datetimeFigureOut">
              <a:rPr lang="en-GB" sz="800" smtClean="0"/>
              <a:t>19/09/2025</a:t>
            </a:fld>
            <a:endParaRPr lang="en-GB" sz="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30D8F8-A179-4259-2959-1E86837A343E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570426-4D8B-8F32-F2B0-987CF91A8196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180000" bIns="45720" rtlCol="0" anchor="b"/>
          <a:lstStyle>
            <a:lvl1pPr algn="r">
              <a:defRPr sz="1200"/>
            </a:lvl1pPr>
          </a:lstStyle>
          <a:p>
            <a:fld id="{A9B4B3A3-9309-498B-B371-4C6825A40C15}" type="slidenum">
              <a:rPr lang="en-GB" sz="800" smtClean="0"/>
              <a:t>‹#›</a:t>
            </a:fld>
            <a:endParaRPr lang="en-GB" sz="800" dirty="0"/>
          </a:p>
        </p:txBody>
      </p:sp>
      <p:sp>
        <p:nvSpPr>
          <p:cNvPr id="7" name="!!Logo">
            <a:extLst>
              <a:ext uri="{FF2B5EF4-FFF2-40B4-BE49-F238E27FC236}">
                <a16:creationId xmlns:a16="http://schemas.microsoft.com/office/drawing/2014/main" id="{A3794F8B-D116-A333-4A51-B5BFD605C7A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76360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heme" Target="../theme/theme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6200" y="254033"/>
            <a:ext cx="2971800" cy="197117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lang="en-GB" dirty="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56916"/>
            <a:ext cx="2971800" cy="197117"/>
          </a:xfrm>
          <a:prstGeom prst="rect">
            <a:avLst/>
          </a:prstGeom>
        </p:spPr>
        <p:txBody>
          <a:bodyPr vert="horz" lIns="144000" tIns="45720" rIns="180000" bIns="45720" rtlCol="0"/>
          <a:lstStyle>
            <a:lvl1pPr algn="r">
              <a:defRPr sz="800"/>
            </a:lvl1pPr>
          </a:lstStyle>
          <a:p>
            <a:fld id="{153DBB42-01C3-4D3C-8D5A-C1C44836255C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1518752" y="684212"/>
            <a:ext cx="3820495" cy="214902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3131957"/>
            <a:ext cx="5486400" cy="51962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lang="en-GB" dirty="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144000" tIns="45720" rIns="180000" bIns="45720" rtlCol="0" anchor="b"/>
          <a:lstStyle>
            <a:lvl1pPr algn="r">
              <a:defRPr sz="800"/>
            </a:lvl1pPr>
          </a:lstStyle>
          <a:p>
            <a:fld id="{2C5552FE-2C19-4684-9D2B-568549EFB4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!!Logo">
            <a:extLst>
              <a:ext uri="{FF2B5EF4-FFF2-40B4-BE49-F238E27FC236}">
                <a16:creationId xmlns:a16="http://schemas.microsoft.com/office/drawing/2014/main" id="{6958A3FA-35C4-A387-9DCC-FFA001FEC8C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0556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19238" y="684213"/>
            <a:ext cx="3819525" cy="2149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Har man lite skavanker är det åndå värdefullt att komma till träningen, vi löser individuella övningar som funka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D790C0-25BE-4824-BCFA-06390AAB28B9}" type="datetime3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September, 2025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04CC51-62D5-4F80-9685-0A36C295241E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456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CB348-8279-41F3-9980-A1172114C4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7050" y="2508250"/>
            <a:ext cx="7204550" cy="5436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defRPr sz="3200" cap="all" baseline="0"/>
            </a:lvl1pPr>
          </a:lstStyle>
          <a:p>
            <a:r>
              <a:rPr lang="en-GB" noProof="0" dirty="0"/>
              <a:t>ENTER TITLE – JUST ONE LINE</a:t>
            </a:r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0C32FF60-6FE8-4461-972D-A358F17082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40000" y="2520000"/>
            <a:ext cx="2286000" cy="54292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A584E0-8547-4EBA-93A4-9919707E8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7050" y="3218400"/>
            <a:ext cx="7204550" cy="1080000"/>
          </a:xfrm>
          <a:prstGeom prst="rect">
            <a:avLst/>
          </a:prstGeom>
        </p:spPr>
        <p:txBody>
          <a:bodyPr/>
          <a:lstStyle>
            <a:lvl1pPr algn="l">
              <a:defRPr sz="2000"/>
            </a:lvl1pPr>
          </a:lstStyle>
          <a:p>
            <a:pPr lvl="0"/>
            <a:r>
              <a:rPr lang="en-GB" noProof="0" dirty="0"/>
              <a:t>Enter 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108382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580">
          <p15:clr>
            <a:srgbClr val="FBAE40"/>
          </p15:clr>
        </p15:guide>
        <p15:guide id="2" pos="27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3112727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A68000-1941-4DA0-8A1F-8EBDA65AC0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388" y="1209600"/>
            <a:ext cx="11833200" cy="546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0399351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7699F8D-C613-4ED6-B268-165946804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931775-1B7D-4040-AEE6-E0835CF3DE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38DDC05-C5AB-4C50-8C8B-94920D70AB40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9D35D-17DA-41F7-B040-E653B35AA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102226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D2C7A91-7897-4A7F-B8EA-CB6C7D0C4EF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184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EB2EF7F-9324-4D4B-A1BF-484815D98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06B3B19-5004-46F2-9182-14C12B310C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74DD411-81C5-4603-B808-749A1C239570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972EF5-9A3B-49A1-967A-27C8B73DE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3282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2634">
          <p15:clr>
            <a:srgbClr val="FBAE40"/>
          </p15:clr>
        </p15:guide>
        <p15:guide id="3" pos="2526">
          <p15:clr>
            <a:srgbClr val="FBAE40"/>
          </p15:clr>
        </p15:guide>
        <p15:guide id="4" pos="5046">
          <p15:clr>
            <a:srgbClr val="FBAE40"/>
          </p15:clr>
        </p15:guide>
        <p15:guide id="5" pos="5157">
          <p15:clr>
            <a:srgbClr val="FBAE40"/>
          </p15:clr>
        </p15:guide>
        <p15:guide id="9" orient="horz" pos="2219">
          <p15:clr>
            <a:srgbClr val="FBAE40"/>
          </p15:clr>
        </p15:guide>
        <p15:guide id="10" orient="horz" pos="233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5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40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40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56539C1-C96B-42D7-A2AF-A41692CC42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44E3066-EB01-4F22-9F1F-105C178506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55410AF6-44BC-406B-8801-DFE9D5170784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A86747B-BDEC-470C-887F-962A57571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14437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2526">
          <p15:clr>
            <a:srgbClr val="FBAE40"/>
          </p15:clr>
        </p15:guide>
        <p15:guide id="3" pos="2634">
          <p15:clr>
            <a:srgbClr val="FBAE40"/>
          </p15:clr>
        </p15:guide>
        <p15:guide id="4" pos="5046">
          <p15:clr>
            <a:srgbClr val="FBAE40"/>
          </p15:clr>
        </p15:guide>
        <p15:guide id="5" pos="5154">
          <p15:clr>
            <a:srgbClr val="FBAE40"/>
          </p15:clr>
        </p15:guide>
        <p15:guide id="8" orient="horz" pos="2220">
          <p15:clr>
            <a:srgbClr val="FBAE40"/>
          </p15:clr>
        </p15:guide>
        <p15:guide id="9" orient="horz" pos="232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81725" y="542925"/>
            <a:ext cx="5825475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80000" y="540000"/>
            <a:ext cx="5832474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2400" y="3703724"/>
            <a:ext cx="58248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7B8610-96BF-44A1-8981-5B8168BF2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17CAAC6-B83C-4A9E-ACBC-601ED50C9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18652A7-B0F6-428C-9C31-0A03897B9ECA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1A3038D-0D73-41B2-B289-D954169673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04663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2220">
          <p15:clr>
            <a:srgbClr val="FBAE40"/>
          </p15:clr>
        </p15:guide>
        <p15:guide id="3" orient="horz" pos="2328">
          <p15:clr>
            <a:srgbClr val="FBAE40"/>
          </p15:clr>
        </p15:guide>
        <p15:guide id="5" pos="3786">
          <p15:clr>
            <a:srgbClr val="FBAE40"/>
          </p15:clr>
        </p15:guide>
        <p15:guide id="6" pos="38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79400" y="540000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8F072AD8-6DAB-4FE3-8463-A9CB6100F72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89400" y="530225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0AE5-9CCC-4EB2-B8D2-4AD89CD5CF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3464D53-8F88-47CD-A26E-22D07D11F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301334B-B605-4392-AC5F-7DA43D2F6916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24513CA-6205-41D3-93B8-757A847A2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70417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3786">
          <p15:clr>
            <a:srgbClr val="FBAE40"/>
          </p15:clr>
        </p15:guide>
        <p15:guide id="3" pos="389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5175B383-099C-41CE-B5AA-384B4E10BD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0" y="3157537"/>
            <a:ext cx="2286000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309229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EBEFB137-2B54-42AD-BDAD-96813FC80F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4184" y="3989025"/>
            <a:ext cx="675352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7" name="Rubrik 6">
            <a:extLst>
              <a:ext uri="{FF2B5EF4-FFF2-40B4-BE49-F238E27FC236}">
                <a16:creationId xmlns:a16="http://schemas.microsoft.com/office/drawing/2014/main" id="{B0B4E0FE-DC57-4515-B085-17792707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183" y="2385733"/>
            <a:ext cx="6753526" cy="1325563"/>
          </a:xfrm>
        </p:spPr>
        <p:txBody>
          <a:bodyPr/>
          <a:lstStyle>
            <a:lvl1pPr algn="l"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4" name="Bildobjekt 3" descr="En bild som visar text, clipart&#10;&#10;Automatiskt genererad beskrivning">
            <a:extLst>
              <a:ext uri="{FF2B5EF4-FFF2-40B4-BE49-F238E27FC236}">
                <a16:creationId xmlns:a16="http://schemas.microsoft.com/office/drawing/2014/main" id="{A347D7B1-083D-49CC-A712-18CCC9C1E3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73" y="585050"/>
            <a:ext cx="2172312" cy="110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2090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AACD53D-220E-4DFE-B6B1-6C6131C95ED3}"/>
              </a:ext>
            </a:extLst>
          </p:cNvPr>
          <p:cNvSpPr/>
          <p:nvPr userDrawn="1"/>
        </p:nvSpPr>
        <p:spPr>
          <a:xfrm>
            <a:off x="180000" y="540000"/>
            <a:ext cx="11833200" cy="6156326"/>
          </a:xfrm>
          <a:prstGeom prst="rect">
            <a:avLst/>
          </a:prstGeom>
          <a:solidFill>
            <a:srgbClr val="5F5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18F717A-AEE1-448D-8297-B65D1013C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4588E-EDBE-4767-AE90-F3C3C11E5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877567A-31B7-4D9B-9FA3-529F52DCA7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6292DD6A-D95C-49C4-A09E-49954026D21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3B8F14C-FF5A-464F-8949-9B00171420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438143"/>
      </p:ext>
    </p:extLst>
  </p:cSld>
  <p:clrMapOvr>
    <a:masterClrMapping/>
  </p:clrMapOvr>
  <p:transition spd="slow">
    <p:push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EB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6A52C3-A678-48E2-BFC2-80EAC5E1D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rgbClr val="000000"/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99653BA-8942-448A-92BF-691B41634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DB38C5D-4587-4253-81D6-06CFFA3E65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5C155B0-E9E6-484D-AC00-BE7E7BE4A6CB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384B32-2192-432D-8DE3-404E08B63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636909"/>
      </p:ext>
    </p:extLst>
  </p:cSld>
  <p:clrMapOvr>
    <a:masterClrMapping/>
  </p:clrMapOvr>
  <p:transition spd="slow">
    <p:push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7862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585AB0-D6AC-4B6E-A764-FD2CAA75A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EEEA16-4FF1-4ABD-A324-59C70EF92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4D1589C-4BA5-4AA8-925B-24BE7728E8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554AF94-FE31-48FA-98BE-CFBAA400FB83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C6FCC10-3F8E-46FD-8674-BCD3D86F50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364778"/>
      </p:ext>
    </p:extLst>
  </p:cSld>
  <p:clrMapOvr>
    <a:masterClrMapping/>
  </p:clrMapOvr>
  <p:transition spd="slow">
    <p:push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556354-608B-4787-8DE7-B1332BE078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AE61C4-43D1-401F-9D54-F9FB6B080A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5677200"/>
            <a:ext cx="5554800" cy="640800"/>
          </a:xfrm>
          <a:prstGeom prst="rect">
            <a:avLst/>
          </a:prstGeom>
          <a:solidFill>
            <a:srgbClr val="000000">
              <a:alpha val="60000"/>
            </a:srgbClr>
          </a:solidFill>
        </p:spPr>
        <p:txBody>
          <a:bodyPr vert="horz" lIns="180000" tIns="180000" rIns="180000" bIns="180000" anchor="b" anchorCtr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noProof="0" dirty="0"/>
              <a:t>Remove this textbox if no caption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068D0A-F18A-4F70-9C7E-31EDA5B7E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CD1D0CB-5FD8-4A4A-812D-7DA6EBEA56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5618C83-F056-4BDA-9D99-02AD24DDBCCC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A006013-28DF-4DE2-BF63-CD8BFE454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698942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3981">
          <p15:clr>
            <a:srgbClr val="FBAE40"/>
          </p15:clr>
        </p15:guide>
        <p15:guide id="3" pos="3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E850CC31-ED22-4F3F-A1B4-0C5FC1349455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icon to add media 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E537F4-6FE1-4910-A3DD-AFB5CC9631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093B71E-EFD3-45AC-A22F-5587F00ED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1B1C576-E309-4693-80E1-431F7886658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875D520-DEC3-4D51-8576-4C105CBCA8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0119806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107C0F9-0B49-4A3F-88BD-00EFED694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50" y="536575"/>
            <a:ext cx="7399338" cy="18160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8BFA0F4-9C74-4C78-B342-6D09C562D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21A9B79-955C-41CE-B02B-06B2DABD4E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C8DA350-5CB0-4463-8133-9E5588E73346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2DC3582-BD3E-48E7-B4A4-089A9CC51E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4FB65-B7C5-42A5-8C41-DD17DFE909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393950" y="2517776"/>
            <a:ext cx="7399338" cy="415925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6359292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482">
          <p15:clr>
            <a:srgbClr val="FBAE40"/>
          </p15:clr>
        </p15:guide>
        <p15:guide id="2" pos="1508">
          <p15:clr>
            <a:srgbClr val="FBAE40"/>
          </p15:clr>
        </p15:guide>
        <p15:guide id="3" pos="6169">
          <p15:clr>
            <a:srgbClr val="FBAE40"/>
          </p15:clr>
        </p15:guide>
        <p15:guide id="4" orient="horz" pos="158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60F0F4E-3794-41C1-980B-E757B2EA76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7200000" cy="6138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3A53AC-611C-4659-AC44-69E8130D3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8088" y="536575"/>
            <a:ext cx="4456112" cy="1800000"/>
          </a:xfrm>
          <a:prstGeom prst="rect">
            <a:avLst/>
          </a:prstGeom>
        </p:spPr>
        <p:txBody>
          <a:bodyPr rIns="180000" anchor="b"/>
          <a:lstStyle>
            <a:lvl1pPr>
              <a:defRPr sz="3200"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EC200BA-345F-4D94-8545-3B91E79EF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6D30DFC-88EB-4419-87B7-16A9B0C86B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1C82D8E-5556-4B59-B906-8F750C8D4E62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D39D7DD-F191-4C92-B4AA-A3704E8259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388983-6D37-4892-852E-C72ACDF10D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58088" y="2537025"/>
            <a:ext cx="4456112" cy="4140000"/>
          </a:xfrm>
        </p:spPr>
        <p:txBody>
          <a:bodyPr rIns="18000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9830549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4650">
          <p15:clr>
            <a:srgbClr val="FBAE40"/>
          </p15:clr>
        </p15:guide>
        <p15:guide id="3" pos="47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540000"/>
            <a:ext cx="11070000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and add title – just one lin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49B0FC7-218C-4ED8-AEBF-AEECCA7A9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3ECB66E-0F10-4E1E-AF3A-542B809333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8AC1422E-3668-4382-B9A9-4FD644140E9C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FF0BAD8-4D41-4514-9ACD-FE581DE8D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7E77CB-6747-49BD-88CB-1119FAF0964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80000" y="1208088"/>
            <a:ext cx="5829300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9535B78-6C09-40CA-BE21-62E1ED086F0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83313" y="1208088"/>
            <a:ext cx="5830887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70343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784">
          <p15:clr>
            <a:srgbClr val="FBAE40"/>
          </p15:clr>
        </p15:guide>
        <p15:guide id="2" pos="3895">
          <p15:clr>
            <a:srgbClr val="FBAE40"/>
          </p15:clr>
        </p15:guide>
        <p15:guide id="3" orient="horz" pos="76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18B117-0B8E-3C05-24CA-66969151A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2699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18B117-0B8E-3C05-24CA-66969151A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4">
            <a:extLst>
              <a:ext uri="{FF2B5EF4-FFF2-40B4-BE49-F238E27FC236}">
                <a16:creationId xmlns:a16="http://schemas.microsoft.com/office/drawing/2014/main" id="{B4E9A893-6AF0-4B8C-9D2D-BBCD0F3AC5D8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249025" y="0"/>
            <a:ext cx="942975" cy="542925"/>
          </a:xfrm>
          <a:prstGeom prst="rect">
            <a:avLst/>
          </a:prstGeom>
        </p:spPr>
      </p:pic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EBDB4792-2DD8-4659-BDA3-DA8F6094E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800" y="540000"/>
            <a:ext cx="7394400" cy="180342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 noProof="0" dirty="0"/>
              <a:t>Click and add tit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6CC0AFF-0D9F-484D-A1E5-C49776BC9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01DABA3-3313-4B89-B1A7-054633806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BF850E8-5C79-47A6-BF51-E088C95CC521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D9CD4A9-CDF3-4DD4-BB68-8566C9E3C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BE51B1-BFD1-4AE9-8EFA-49D9BD1CEB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7600" y="2520000"/>
            <a:ext cx="7394400" cy="41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247FFB-F130-D4AF-F9D3-A3D2AA3330FB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738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FE">
                    <a:alpha val="50000"/>
                  </a:srgbClr>
                </a:solidFill>
                <a:latin typeface="SKF Sans Office" pitchFamily="2" charset="0"/>
              </a:rPr>
              <a:t>Confidentiality: C2 – Internal </a:t>
            </a:r>
          </a:p>
        </p:txBody>
      </p:sp>
    </p:spTree>
    <p:extLst>
      <p:ext uri="{BB962C8B-B14F-4D97-AF65-F5344CB8AC3E}">
        <p14:creationId xmlns:p14="http://schemas.microsoft.com/office/powerpoint/2010/main" val="1613607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</p:sldLayoutIdLst>
  <p:transition spd="slow">
    <p:push dir="u"/>
  </p:transition>
  <p:hf sldNum="0"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lang="en-GB" sz="32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23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None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42000" indent="-342000" algn="l" defTabSz="914423" rtl="0" eaLnBrk="1" latinLnBrk="0" hangingPunct="1">
        <a:lnSpc>
          <a:spcPct val="90000"/>
        </a:lnSpc>
        <a:spcBef>
          <a:spcPts val="900"/>
        </a:spcBef>
        <a:buSzPct val="90000"/>
        <a:buFont typeface="Calibri Light" panose="020F0302020204030204" pitchFamily="34" charset="0"/>
        <a:buChar char="•"/>
        <a:tabLst>
          <a:tab pos="342000" algn="l"/>
        </a:tabLst>
        <a:defRPr lang="en-US" sz="24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684000" indent="-342000" algn="l" defTabSz="914423" rtl="0" eaLnBrk="1" latinLnBrk="0" hangingPunct="1">
        <a:lnSpc>
          <a:spcPct val="90000"/>
        </a:lnSpc>
        <a:spcBef>
          <a:spcPts val="400"/>
        </a:spcBef>
        <a:buFont typeface="Calibri Light" panose="020F0302020204030204" pitchFamily="34" charset="0"/>
        <a:buChar char="–"/>
        <a:tabLst>
          <a:tab pos="684000" algn="l"/>
        </a:tabLst>
        <a:defRPr lang="en-US" sz="20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026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026000" algn="l"/>
        </a:tabLst>
        <a:defRPr lang="en-US" sz="18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1368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368000" algn="l"/>
        </a:tabLst>
        <a:defRPr lang="en-GB" sz="16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4">
          <p15:clr>
            <a:srgbClr val="F26B43"/>
          </p15:clr>
        </p15:guide>
        <p15:guide id="2" orient="horz" pos="4206">
          <p15:clr>
            <a:srgbClr val="F26B43"/>
          </p15:clr>
        </p15:guide>
        <p15:guide id="3" pos="112">
          <p15:clr>
            <a:srgbClr val="F26B43"/>
          </p15:clr>
        </p15:guide>
        <p15:guide id="4" pos="75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4367F0C-CE4A-B073-4E42-57FF4C737B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367F0C-CE4A-B073-4E42-57FF4C737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31D2AB-F486-4AA8-99F7-639E3726B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9238" y="216535"/>
            <a:ext cx="7399338" cy="577973"/>
          </a:xfrm>
        </p:spPr>
        <p:txBody>
          <a:bodyPr vert="horz"/>
          <a:lstStyle/>
          <a:p>
            <a:r>
              <a:rPr lang="en-GB" dirty="0" err="1"/>
              <a:t>Föräldramöte</a:t>
            </a:r>
            <a:r>
              <a:rPr lang="en-GB" dirty="0"/>
              <a:t> P12 (2013) 2025-09-19</a:t>
            </a:r>
          </a:p>
        </p:txBody>
      </p:sp>
      <p:pic>
        <p:nvPicPr>
          <p:cNvPr id="4" name="Bildobjekt 1">
            <a:extLst>
              <a:ext uri="{FF2B5EF4-FFF2-40B4-BE49-F238E27FC236}">
                <a16:creationId xmlns:a16="http://schemas.microsoft.com/office/drawing/2014/main" id="{0395EA18-8FA8-4826-AA31-3640ED4C65FC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6" y="104330"/>
            <a:ext cx="1216152" cy="1212406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CED090-79F8-4E90-9EF5-FC9A496E4C5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5922" y="1166327"/>
            <a:ext cx="9761442" cy="5262465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GB" dirty="0" err="1"/>
              <a:t>Tränarstaben</a:t>
            </a:r>
            <a:r>
              <a:rPr lang="en-GB" dirty="0"/>
              <a:t> </a:t>
            </a:r>
            <a:r>
              <a:rPr lang="en-GB" dirty="0" err="1"/>
              <a:t>består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Madeleine, Peter, Andreas och Natalie</a:t>
            </a:r>
          </a:p>
          <a:p>
            <a:pPr marL="457200" indent="-457200">
              <a:buAutoNum type="arabicPeriod"/>
            </a:pPr>
            <a:endParaRPr lang="en-GB" dirty="0"/>
          </a:p>
          <a:p>
            <a:pPr marL="799200" lvl="1" indent="-457200">
              <a:buAutoNum type="arabicPeriod"/>
            </a:pPr>
            <a:r>
              <a:rPr lang="en-GB" sz="2000" b="1" dirty="0" err="1"/>
              <a:t>Träning</a:t>
            </a:r>
            <a:r>
              <a:rPr lang="en-GB" sz="2000" b="1" dirty="0"/>
              <a:t>:</a:t>
            </a:r>
          </a:p>
          <a:p>
            <a:pPr lvl="2" indent="0">
              <a:buNone/>
            </a:pPr>
            <a:r>
              <a:rPr lang="en-GB" b="1" u="sng" dirty="0" err="1">
                <a:solidFill>
                  <a:schemeClr val="accent5"/>
                </a:solidFill>
              </a:rPr>
              <a:t>Måndagar</a:t>
            </a:r>
            <a:r>
              <a:rPr lang="en-GB" dirty="0">
                <a:solidFill>
                  <a:schemeClr val="accent5"/>
                </a:solidFill>
              </a:rPr>
              <a:t> (Angered) 16.30-18.30</a:t>
            </a:r>
          </a:p>
          <a:p>
            <a:pPr lvl="2" indent="0">
              <a:buNone/>
            </a:pPr>
            <a:r>
              <a:rPr lang="en-GB" b="1" u="sng" dirty="0" err="1">
                <a:solidFill>
                  <a:schemeClr val="accent5"/>
                </a:solidFill>
              </a:rPr>
              <a:t>Fredagar</a:t>
            </a:r>
            <a:r>
              <a:rPr lang="en-GB" dirty="0">
                <a:solidFill>
                  <a:schemeClr val="accent5"/>
                </a:solidFill>
              </a:rPr>
              <a:t> (</a:t>
            </a:r>
            <a:r>
              <a:rPr lang="en-GB" dirty="0" err="1">
                <a:solidFill>
                  <a:schemeClr val="accent5"/>
                </a:solidFill>
              </a:rPr>
              <a:t>Lillekärr</a:t>
            </a:r>
            <a:r>
              <a:rPr lang="en-GB" dirty="0">
                <a:solidFill>
                  <a:schemeClr val="accent5"/>
                </a:solidFill>
              </a:rPr>
              <a:t>) 15.30-17.45 (</a:t>
            </a:r>
            <a:r>
              <a:rPr lang="en-GB" dirty="0" err="1">
                <a:solidFill>
                  <a:schemeClr val="accent5"/>
                </a:solidFill>
              </a:rPr>
              <a:t>uteträning</a:t>
            </a:r>
            <a:r>
              <a:rPr lang="en-GB" dirty="0">
                <a:solidFill>
                  <a:schemeClr val="accent5"/>
                </a:solidFill>
              </a:rPr>
              <a:t> 17.00-17.45) + Dusch</a:t>
            </a:r>
          </a:p>
          <a:p>
            <a:pPr lvl="2" indent="0">
              <a:buNone/>
            </a:pPr>
            <a:endParaRPr lang="en-GB" dirty="0"/>
          </a:p>
          <a:p>
            <a:pPr marL="1026900" lvl="2" indent="-342900">
              <a:buFont typeface="Arial" panose="020B0604020202020204" pitchFamily="34" charset="0"/>
              <a:buChar char="•"/>
            </a:pPr>
            <a:r>
              <a:rPr lang="en-GB" dirty="0" err="1"/>
              <a:t>Möjlighet</a:t>
            </a:r>
            <a:r>
              <a:rPr lang="en-GB" dirty="0"/>
              <a:t> till </a:t>
            </a:r>
            <a:r>
              <a:rPr lang="en-GB" dirty="0" err="1"/>
              <a:t>öppen</a:t>
            </a:r>
            <a:r>
              <a:rPr lang="en-GB" dirty="0"/>
              <a:t> </a:t>
            </a:r>
            <a:r>
              <a:rPr lang="en-GB" dirty="0" err="1"/>
              <a:t>teknikträning</a:t>
            </a:r>
            <a:r>
              <a:rPr lang="en-GB" dirty="0"/>
              <a:t> </a:t>
            </a:r>
            <a:r>
              <a:rPr lang="en-GB" dirty="0" err="1"/>
              <a:t>söndagar</a:t>
            </a:r>
            <a:r>
              <a:rPr lang="en-GB" dirty="0"/>
              <a:t> kl 8-9 (</a:t>
            </a:r>
            <a:r>
              <a:rPr lang="en-GB" dirty="0" err="1"/>
              <a:t>inkl</a:t>
            </a:r>
            <a:r>
              <a:rPr lang="en-GB" dirty="0"/>
              <a:t> </a:t>
            </a:r>
            <a:r>
              <a:rPr lang="en-GB" dirty="0" err="1"/>
              <a:t>frukost</a:t>
            </a:r>
            <a:r>
              <a:rPr lang="en-GB" dirty="0"/>
              <a:t>)</a:t>
            </a:r>
          </a:p>
          <a:p>
            <a:pPr marL="1026900" lvl="2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lvl="2" indent="0">
              <a:buNone/>
            </a:pPr>
            <a:r>
              <a:rPr lang="en-GB" b="1" dirty="0"/>
              <a:t>2 </a:t>
            </a:r>
            <a:r>
              <a:rPr lang="en-GB" b="1" dirty="0" err="1"/>
              <a:t>Från</a:t>
            </a:r>
            <a:r>
              <a:rPr lang="en-GB" b="1" dirty="0"/>
              <a:t> </a:t>
            </a:r>
            <a:r>
              <a:rPr lang="en-GB" b="1" dirty="0" err="1"/>
              <a:t>klubben</a:t>
            </a:r>
            <a:r>
              <a:rPr lang="en-GB" b="1" dirty="0"/>
              <a:t>!</a:t>
            </a:r>
          </a:p>
          <a:p>
            <a:pPr lvl="2" indent="0">
              <a:buNone/>
            </a:pPr>
            <a:r>
              <a:rPr lang="en-GB" b="1" dirty="0"/>
              <a:t>3. </a:t>
            </a:r>
            <a:r>
              <a:rPr lang="en-GB" b="1" dirty="0" err="1"/>
              <a:t>Säsongsplanering</a:t>
            </a:r>
            <a:endParaRPr lang="en-GB" b="1" dirty="0"/>
          </a:p>
          <a:p>
            <a:pPr lvl="2" indent="0">
              <a:buNone/>
            </a:pPr>
            <a:r>
              <a:rPr lang="en-GB" b="1" dirty="0"/>
              <a:t>4. </a:t>
            </a:r>
            <a:r>
              <a:rPr lang="en-GB" b="1" dirty="0" err="1"/>
              <a:t>Seriespel</a:t>
            </a:r>
            <a:r>
              <a:rPr lang="en-GB" b="1" dirty="0"/>
              <a:t> 25/26 (</a:t>
            </a:r>
            <a:r>
              <a:rPr lang="en-GB" b="1" dirty="0" err="1"/>
              <a:t>samt</a:t>
            </a:r>
            <a:r>
              <a:rPr lang="en-GB" b="1" dirty="0"/>
              <a:t> info </a:t>
            </a:r>
            <a:r>
              <a:rPr lang="en-GB" b="1" dirty="0" err="1"/>
              <a:t>fr</a:t>
            </a:r>
            <a:r>
              <a:rPr lang="en-GB" b="1" dirty="0"/>
              <a:t> HFV </a:t>
            </a:r>
            <a:r>
              <a:rPr lang="en-GB" b="1" dirty="0" err="1"/>
              <a:t>Väst</a:t>
            </a:r>
            <a:r>
              <a:rPr lang="en-GB" b="1" dirty="0"/>
              <a:t>)</a:t>
            </a:r>
          </a:p>
          <a:p>
            <a:pPr lvl="2" indent="0">
              <a:buNone/>
            </a:pPr>
            <a:r>
              <a:rPr lang="en-GB" b="1" dirty="0"/>
              <a:t>5. EMP – </a:t>
            </a:r>
            <a:r>
              <a:rPr lang="en-GB" b="1" dirty="0" err="1"/>
              <a:t>Nytt</a:t>
            </a:r>
            <a:r>
              <a:rPr lang="en-GB" b="1" dirty="0"/>
              <a:t> för </a:t>
            </a:r>
            <a:r>
              <a:rPr lang="en-GB" b="1" dirty="0" err="1"/>
              <a:t>i</a:t>
            </a:r>
            <a:r>
              <a:rPr lang="en-GB" b="1" dirty="0"/>
              <a:t> </a:t>
            </a:r>
            <a:r>
              <a:rPr lang="en-GB" b="1" dirty="0" err="1"/>
              <a:t>år</a:t>
            </a:r>
            <a:endParaRPr lang="en-GB" b="1" dirty="0"/>
          </a:p>
          <a:p>
            <a:pPr lvl="2" indent="0">
              <a:buNone/>
            </a:pPr>
            <a:r>
              <a:rPr lang="en-GB" b="1" dirty="0"/>
              <a:t>6. </a:t>
            </a:r>
            <a:r>
              <a:rPr lang="en-GB" b="1" dirty="0" err="1"/>
              <a:t>Spelarkonto</a:t>
            </a:r>
            <a:endParaRPr lang="en-GB" b="1" dirty="0"/>
          </a:p>
          <a:p>
            <a:pPr lvl="2" indent="0">
              <a:buNone/>
            </a:pPr>
            <a:r>
              <a:rPr lang="en-GB" b="1" dirty="0"/>
              <a:t>7. </a:t>
            </a:r>
            <a:r>
              <a:rPr lang="en-GB" b="1" dirty="0" err="1"/>
              <a:t>Förälder</a:t>
            </a:r>
            <a:r>
              <a:rPr lang="en-GB" b="1" dirty="0"/>
              <a:t> -&gt; </a:t>
            </a:r>
            <a:r>
              <a:rPr lang="en-GB" b="1" dirty="0" err="1"/>
              <a:t>Hallansvarig</a:t>
            </a:r>
            <a:r>
              <a:rPr lang="en-GB" b="1" dirty="0"/>
              <a:t>, Norden Cup, </a:t>
            </a:r>
            <a:r>
              <a:rPr lang="en-GB" b="1" dirty="0" err="1"/>
              <a:t>försäljningsansvarig</a:t>
            </a:r>
            <a:r>
              <a:rPr lang="en-GB" b="1" dirty="0"/>
              <a:t>, </a:t>
            </a:r>
            <a:r>
              <a:rPr lang="en-GB" b="1" dirty="0" err="1"/>
              <a:t>lottansvarig</a:t>
            </a:r>
            <a:r>
              <a:rPr lang="en-GB" b="1" dirty="0"/>
              <a:t> 25/26</a:t>
            </a:r>
          </a:p>
          <a:p>
            <a:pPr lvl="2" indent="0">
              <a:buNone/>
            </a:pPr>
            <a:r>
              <a:rPr lang="en-GB" b="1" dirty="0"/>
              <a:t>8. </a:t>
            </a:r>
            <a:r>
              <a:rPr lang="en-GB" b="1" dirty="0" err="1"/>
              <a:t>Lagkassa</a:t>
            </a:r>
            <a:r>
              <a:rPr lang="en-GB" b="1" dirty="0"/>
              <a:t>/</a:t>
            </a:r>
            <a:r>
              <a:rPr lang="en-GB" b="1" dirty="0" err="1"/>
              <a:t>Försäljning</a:t>
            </a:r>
            <a:endParaRPr lang="en-GB" b="1" dirty="0"/>
          </a:p>
          <a:p>
            <a:pPr marL="799200" lvl="1" indent="-457200">
              <a:buAutoNum type="arabicPeriod"/>
            </a:pPr>
            <a:endParaRPr lang="en-GB" dirty="0"/>
          </a:p>
          <a:p>
            <a:pPr lvl="1" indent="0">
              <a:buNone/>
            </a:pPr>
            <a:endParaRPr lang="en-GB" dirty="0"/>
          </a:p>
          <a:p>
            <a:pPr lvl="1" indent="0">
              <a:buNone/>
            </a:pPr>
            <a:endParaRPr lang="en-GB" dirty="0"/>
          </a:p>
        </p:txBody>
      </p:sp>
      <p:pic>
        <p:nvPicPr>
          <p:cNvPr id="15" name="Picture 14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FB024ADB-5E94-D197-29D0-8B974234DCD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8576" y="1967688"/>
            <a:ext cx="3045644" cy="3316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778638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DB30C-9689-C99D-A5D7-B529B2BFB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12FC4E-C113-934B-02BD-53424DEE715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D21151-99ED-965B-BA21-FB40FA1860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017255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E5F21-55DF-827E-FD83-056FEE8CB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0DCFAA-AC9C-69AB-D0C0-7D040128AEB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83D013-66F1-3958-B037-96A6A7B84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68826"/>
            <a:ext cx="12260942" cy="6789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409200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DC84C-3F24-FA1A-9677-585DF40E5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BBC70-C832-26FA-1E72-C78DCB3914A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75F88A-9B6B-4AB1-585E-47BC051F69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0390" y="0"/>
            <a:ext cx="1225238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647380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87DF3-F234-C5A9-E18C-8C5AF12D5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92C63C-CF69-F7D0-8720-767F58207A0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D0F039-55E2-0989-2955-A68CACFD50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55" y="0"/>
            <a:ext cx="121377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454949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2245C-F9FC-7780-2BAE-7030E3413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11C1DD-FBB4-62A9-C998-060BD1766DF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68747-31AA-A777-FD1F-87B81204F8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0998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986393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663D9A4-3CCF-DF5E-26B4-51ABF5B921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63D9A4-3CCF-DF5E-26B4-51ABF5B92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FC0F678-AB55-2854-77BA-CC22D8D820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621" y="113300"/>
            <a:ext cx="11922727" cy="626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643030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71427B-9237-0AA4-C829-09C6C516BC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71427B-9237-0AA4-C829-09C6C516BC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03D33FE-1B0D-CE71-E393-9D349DE3B9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279" y="394617"/>
            <a:ext cx="8205614" cy="468482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687CB3-7C1D-81F1-F37F-7203748E1960}"/>
              </a:ext>
            </a:extLst>
          </p:cNvPr>
          <p:cNvSpPr txBox="1"/>
          <p:nvPr/>
        </p:nvSpPr>
        <p:spPr>
          <a:xfrm>
            <a:off x="1120877" y="5728590"/>
            <a:ext cx="80280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F58D6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ttps://www.karrahf.se/news/7946025/Information-om-Fritidskortet-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3F7385-AC64-B0CB-330F-37F9969F76BE}"/>
              </a:ext>
            </a:extLst>
          </p:cNvPr>
          <p:cNvSpPr txBox="1"/>
          <p:nvPr/>
        </p:nvSpPr>
        <p:spPr>
          <a:xfrm>
            <a:off x="9261987" y="806245"/>
            <a:ext cx="2536723" cy="10551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F58D6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500:- att nyttja till tex medlemsavgift, Skadevi cup, handbollscamp...</a:t>
            </a:r>
          </a:p>
        </p:txBody>
      </p:sp>
    </p:spTree>
    <p:extLst>
      <p:ext uri="{BB962C8B-B14F-4D97-AF65-F5344CB8AC3E}">
        <p14:creationId xmlns:p14="http://schemas.microsoft.com/office/powerpoint/2010/main" val="923881311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04C8E-4D71-1D8B-D158-8C5A64F96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ED5630-E3D6-DFF8-72D0-71CB5F65412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AD7A66-F2A3-07B0-4121-47AB32DA5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25137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1F5F2BE-4AFB-F719-E1EA-A1333F003C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5F2BE-4AFB-F719-E1EA-A1333F003C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4632302-C495-A09E-3B1E-84FD3C6D26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75278" y="0"/>
            <a:ext cx="1234593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58920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BD2640-6783-6954-F2AE-D7412EBE11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BD2640-6783-6954-F2AE-D7412EBE1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A19645A-56BB-9387-D91C-9527E86274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9763"/>
            <a:ext cx="12203731" cy="665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58117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9152B-01BD-9A2B-1607-A53319EDE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BF95C9-8B79-0F38-D78D-C508DE1AADE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61F242-3404-7FF9-2F76-6E3DCC083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2713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96064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F30891-CBE8-266E-3FED-38D7946CD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31A718-B271-46DE-398C-A77CA40555B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040FFBE-2935-3394-1B35-76D4106F59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2690" y="-88490"/>
            <a:ext cx="12304690" cy="6946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347987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E8539-D261-9DDA-A600-2494592ED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C956BB-1C6A-007C-6FA5-6C2E8C19755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C41222-476E-2685-389F-74EE55722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878562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2E8B-4665-5284-0474-3568F37F0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4E3EDC-6C49-0273-7FD4-E260B781F5D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6990BB-523F-4B53-19AB-818E21A5B0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2182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884E9-7D89-8EE9-3021-5D7FB65CD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765BAF-3EFB-B633-4E44-44850DFE5DC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162332-EE3C-BEE3-6693-85C0CFBA2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8182" y="1"/>
            <a:ext cx="12240182" cy="6784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6517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NG_DEF" val="2057"/>
  <p:tag name="LANG_NAME" val="English UK"/>
  <p:tag name="MASTCOUNT" val="1"/>
  <p:tag name="DES1LAYOUTCOUNT" val="60"/>
  <p:tag name="LINGO_COUNT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SKF 2020">
  <a:themeElements>
    <a:clrScheme name="SKF 2020">
      <a:dk1>
        <a:sysClr val="windowText" lastClr="000000"/>
      </a:dk1>
      <a:lt1>
        <a:sysClr val="window" lastClr="FFFFFF"/>
      </a:lt1>
      <a:dk2>
        <a:srgbClr val="5F5F64"/>
      </a:dk2>
      <a:lt2>
        <a:srgbClr val="EBF0F0"/>
      </a:lt2>
      <a:accent1>
        <a:srgbClr val="264357"/>
      </a:accent1>
      <a:accent2>
        <a:srgbClr val="94ABA6"/>
      </a:accent2>
      <a:accent3>
        <a:srgbClr val="485A64"/>
      </a:accent3>
      <a:accent4>
        <a:srgbClr val="B2A799"/>
      </a:accent4>
      <a:accent5>
        <a:srgbClr val="0F58D6"/>
      </a:accent5>
      <a:accent6>
        <a:srgbClr val="46962B"/>
      </a:accent6>
      <a:hlink>
        <a:srgbClr val="0F58D6"/>
      </a:hlink>
      <a:folHlink>
        <a:srgbClr val="781E93"/>
      </a:folHlink>
    </a:clrScheme>
    <a:fontScheme name="SKF Calibri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8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KF PPT 2020.potx" id="{A44EF65F-37CF-4CB5-8426-D73A0B38DDF4}" vid="{D8D5E66A-D129-4503-A63B-E120812E1122}"/>
    </a:ext>
  </a:extLst>
</a:theme>
</file>

<file path=ppt/theme/theme2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467886"/>
      </a:hlink>
      <a:folHlink>
        <a:srgbClr val="96607D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0000FE"/>
      </a:hlink>
      <a:folHlink>
        <a:srgbClr val="0000FE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7d747df-3ae7-4b39-bdf4-d2386b3c474f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  <TaxCatchAll xmlns="dbfdf458-13d0-4d8f-b0d9-aea8cb9822a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46CD667E4335448EA6A36CBD3C9AAF" ma:contentTypeVersion="17" ma:contentTypeDescription="Create a new document." ma:contentTypeScope="" ma:versionID="2c88f31b4781b2776a8c7376bb172f59">
  <xsd:schema xmlns:xsd="http://www.w3.org/2001/XMLSchema" xmlns:xs="http://www.w3.org/2001/XMLSchema" xmlns:p="http://schemas.microsoft.com/office/2006/metadata/properties" xmlns:ns1="http://schemas.microsoft.com/sharepoint/v3" xmlns:ns2="27d747df-3ae7-4b39-bdf4-d2386b3c474f" xmlns:ns3="dbfdf458-13d0-4d8f-b0d9-aea8cb9822af" targetNamespace="http://schemas.microsoft.com/office/2006/metadata/properties" ma:root="true" ma:fieldsID="eede093df0dc0c9484f6ba8f2d3376c9" ns1:_="" ns2:_="" ns3:_="">
    <xsd:import namespace="http://schemas.microsoft.com/sharepoint/v3"/>
    <xsd:import namespace="27d747df-3ae7-4b39-bdf4-d2386b3c474f"/>
    <xsd:import namespace="dbfdf458-13d0-4d8f-b0d9-aea8cb9822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d747df-3ae7-4b39-bdf4-d2386b3c47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10430cd-861b-4a84-98ab-de752442a06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fdf458-13d0-4d8f-b0d9-aea8cb9822a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3962bcb-60cd-4eb4-b8cb-674a46fde384}" ma:internalName="TaxCatchAll" ma:showField="CatchAllData" ma:web="dbfdf458-13d0-4d8f-b0d9-aea8cb9822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35D98A-4E20-45EB-A93F-5B227E9C2F9F}">
  <ds:schemaRefs>
    <ds:schemaRef ds:uri="http://schemas.microsoft.com/office/2006/metadata/properties"/>
    <ds:schemaRef ds:uri="http://schemas.microsoft.com/office/infopath/2007/PartnerControls"/>
    <ds:schemaRef ds:uri="7ff0a519-25fc-4f8f-8aa2-e28558e40983"/>
    <ds:schemaRef ds:uri="27d747df-3ae7-4b39-bdf4-d2386b3c474f"/>
    <ds:schemaRef ds:uri="http://schemas.microsoft.com/sharepoint/v3"/>
    <ds:schemaRef ds:uri="dbfdf458-13d0-4d8f-b0d9-aea8cb9822af"/>
  </ds:schemaRefs>
</ds:datastoreItem>
</file>

<file path=customXml/itemProps2.xml><?xml version="1.0" encoding="utf-8"?>
<ds:datastoreItem xmlns:ds="http://schemas.openxmlformats.org/officeDocument/2006/customXml" ds:itemID="{DCFD0C47-3DB1-4F6C-B64B-13C53C9298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5E923A-6E1E-4F30-8811-17EEB7CD73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7d747df-3ae7-4b39-bdf4-d2386b3c474f"/>
    <ds:schemaRef ds:uri="dbfdf458-13d0-4d8f-b0d9-aea8cb9822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4ede1376-eff3-448c-a8a5-f3e79c769ae3}" enabled="1" method="Standard" siteId="{41875f2b-33e8-4670-92a8-f643afbb243a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9</Words>
  <Application>Microsoft Office PowerPoint</Application>
  <PresentationFormat>Widescreen</PresentationFormat>
  <Paragraphs>22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Calibri Light</vt:lpstr>
      <vt:lpstr>SKF Sans Office</vt:lpstr>
      <vt:lpstr>Calibri</vt:lpstr>
      <vt:lpstr>Arial</vt:lpstr>
      <vt:lpstr>SKF 2020</vt:lpstr>
      <vt:lpstr>think-cell Slide</vt:lpstr>
      <vt:lpstr>Föräldramöte P12 (2013) 2025-09-1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eter R Johansson</dc:creator>
  <cp:lastModifiedBy>Peter R Johansson</cp:lastModifiedBy>
  <cp:revision>1</cp:revision>
  <dcterms:created xsi:type="dcterms:W3CDTF">2025-09-19T19:21:44Z</dcterms:created>
  <dcterms:modified xsi:type="dcterms:W3CDTF">2025-09-19T19:2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46CD667E4335448EA6A36CBD3C9AAF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SKF 2020:7</vt:lpwstr>
  </property>
  <property fmtid="{D5CDD505-2E9C-101B-9397-08002B2CF9AE}" pid="5" name="ClassificationContentMarkingFooterText">
    <vt:lpwstr>Confidentiality: C2 – Internal </vt:lpwstr>
  </property>
</Properties>
</file>